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65" r:id="rId2"/>
  </p:sldMasterIdLst>
  <p:notesMasterIdLst>
    <p:notesMasterId r:id="rId5"/>
  </p:notesMasterIdLst>
  <p:handoutMasterIdLst>
    <p:handoutMasterId r:id="rId6"/>
  </p:handoutMasterIdLst>
  <p:sldIdLst>
    <p:sldId id="344" r:id="rId3"/>
    <p:sldId id="345" r:id="rId4"/>
  </p:sldIdLst>
  <p:sldSz cx="13442950" cy="7561263"/>
  <p:notesSz cx="6858000" cy="9144000"/>
  <p:defaultTextStyle>
    <a:defPPr>
      <a:defRPr lang="pt-BR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27" userDrawn="1">
          <p15:clr>
            <a:srgbClr val="A4A3A4"/>
          </p15:clr>
        </p15:guide>
        <p15:guide id="2" pos="42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B9CD"/>
    <a:srgbClr val="E6005A"/>
    <a:srgbClr val="272A30"/>
    <a:srgbClr val="FF781D"/>
    <a:srgbClr val="FF6600"/>
    <a:srgbClr val="CC9900"/>
    <a:srgbClr val="253746"/>
    <a:srgbClr val="292C34"/>
    <a:srgbClr val="131E29"/>
    <a:srgbClr val="3437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214" autoAdjust="0"/>
  </p:normalViewPr>
  <p:slideViewPr>
    <p:cSldViewPr showGuides="1">
      <p:cViewPr varScale="1">
        <p:scale>
          <a:sx n="94" d="100"/>
          <a:sy n="94" d="100"/>
        </p:scale>
        <p:origin x="1536" y="90"/>
      </p:cViewPr>
      <p:guideLst>
        <p:guide orient="horz" pos="2427"/>
        <p:guide pos="4234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7" d="100"/>
          <a:sy n="57" d="100"/>
        </p:scale>
        <p:origin x="283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CD65D1-5C11-455D-9F9A-0E035F00A0DA}" type="datetimeFigureOut">
              <a:rPr lang="pt-BR" smtClean="0"/>
              <a:pPr/>
              <a:t>30/08/2019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8E3B7C-E4AE-4E9E-8479-7C668141D483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5DA3EF-18EA-43DE-B1BB-402A3C558822}" type="datetimeFigureOut">
              <a:rPr lang="pt-BR" smtClean="0"/>
              <a:pPr/>
              <a:t>30/08/2019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B3645A-D0AE-4F6E-A17E-E0036A9041AF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435073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455668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ma Parte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1"/>
          </p:nvPr>
        </p:nvSpPr>
        <p:spPr>
          <a:xfrm>
            <a:off x="2184972" y="1331922"/>
            <a:ext cx="9423944" cy="5761037"/>
          </a:xfrm>
          <a:prstGeom prst="rect">
            <a:avLst/>
          </a:prstGeom>
        </p:spPr>
        <p:txBody>
          <a:bodyPr/>
          <a:lstStyle>
            <a:lvl1pPr>
              <a:buClr>
                <a:srgbClr val="32B9CD"/>
              </a:buClr>
              <a:defRPr>
                <a:latin typeface="Exo 2" pitchFamily="50" charset="0"/>
              </a:defRPr>
            </a:lvl1pPr>
            <a:lvl2pPr>
              <a:buClr>
                <a:srgbClr val="32B9CD"/>
              </a:buClr>
              <a:defRPr>
                <a:latin typeface="Exo 2" pitchFamily="50" charset="0"/>
              </a:defRPr>
            </a:lvl2pPr>
            <a:lvl3pPr>
              <a:buClr>
                <a:srgbClr val="32B9CD"/>
              </a:buClr>
              <a:defRPr>
                <a:latin typeface="Exo 2" pitchFamily="50" charset="0"/>
              </a:defRPr>
            </a:lvl3pPr>
            <a:lvl4pPr>
              <a:buClr>
                <a:srgbClr val="32B9CD"/>
              </a:buClr>
              <a:defRPr>
                <a:latin typeface="Exo 2" pitchFamily="50" charset="0"/>
              </a:defRPr>
            </a:lvl4pPr>
            <a:lvl5pPr>
              <a:buClr>
                <a:srgbClr val="32B9CD"/>
              </a:buClr>
              <a:defRPr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s estilos d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880" dirty="0"/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84972" y="108228"/>
            <a:ext cx="10782599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72153" y="1692535"/>
            <a:ext cx="5939637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72153" y="2397901"/>
            <a:ext cx="5939637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828833" y="1692535"/>
            <a:ext cx="5941970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828833" y="2397901"/>
            <a:ext cx="5941970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12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12963" y="108228"/>
            <a:ext cx="10854608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7" name="Espaço Reservado para Texto 15"/>
          <p:cNvSpPr>
            <a:spLocks noGrp="1"/>
          </p:cNvSpPr>
          <p:nvPr>
            <p:ph type="body" sz="quarter" idx="14" hasCustomPrompt="1"/>
          </p:nvPr>
        </p:nvSpPr>
        <p:spPr>
          <a:xfrm>
            <a:off x="692917" y="6876976"/>
            <a:ext cx="11586960" cy="504056"/>
          </a:xfrm>
          <a:prstGeom prst="rect">
            <a:avLst/>
          </a:prstGeom>
        </p:spPr>
        <p:txBody>
          <a:bodyPr anchor="t"/>
          <a:lstStyle>
            <a:lvl1pPr>
              <a:buNone/>
              <a:defRPr sz="1509" b="0" baseline="0">
                <a:solidFill>
                  <a:srgbClr val="292C34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5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880" dirty="0"/>
          </a:p>
        </p:txBody>
      </p:sp>
      <p:sp>
        <p:nvSpPr>
          <p:cNvPr id="16" name="Freeform 6"/>
          <p:cNvSpPr>
            <a:spLocks/>
          </p:cNvSpPr>
          <p:nvPr userDrawn="1"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18" name="Imagem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1" y="1751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39"/>
          <p:cNvSpPr txBox="1"/>
          <p:nvPr userDrawn="1"/>
        </p:nvSpPr>
        <p:spPr>
          <a:xfrm>
            <a:off x="-4749253" y="1793519"/>
            <a:ext cx="3794095" cy="16289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TÍTULO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SIMPLON BP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MEDIUM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28pt</a:t>
            </a:r>
          </a:p>
        </p:txBody>
      </p:sp>
      <p:sp>
        <p:nvSpPr>
          <p:cNvPr id="15" name="TextBox 40"/>
          <p:cNvSpPr txBox="1"/>
          <p:nvPr userDrawn="1"/>
        </p:nvSpPr>
        <p:spPr>
          <a:xfrm>
            <a:off x="-4749253" y="4297977"/>
            <a:ext cx="3794095" cy="23612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IMPLON REGULAR 18</a:t>
            </a: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pt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endParaRPr lang="en-US" sz="1985" i="0" baseline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OBS: MANTER ESPAÇAMENTO O6pt</a:t>
            </a:r>
            <a:endParaRPr lang="en-US" sz="1985" i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</p:txBody>
      </p:sp>
      <p:sp>
        <p:nvSpPr>
          <p:cNvPr id="12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0433563" y="7112869"/>
            <a:ext cx="3024664" cy="402567"/>
          </a:xfrm>
          <a:prstGeom prst="rect">
            <a:avLst/>
          </a:prstGeom>
        </p:spPr>
        <p:txBody>
          <a:bodyPr/>
          <a:lstStyle>
            <a:lvl1pPr algn="r">
              <a:defRPr sz="1985">
                <a:solidFill>
                  <a:schemeClr val="bg1"/>
                </a:solidFill>
                <a:latin typeface="Simplon BP Regular" pitchFamily="2" charset="0"/>
              </a:defRPr>
            </a:lvl1pPr>
          </a:lstStyle>
          <a:p>
            <a:fld id="{BC7BA7F7-9ECA-4650-BA2A-F4457457426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36004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cerramen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5123" name="AutoShape 3"/>
          <p:cNvSpPr>
            <a:spLocks noChangeAspect="1" noChangeArrowheads="1" noTextEdit="1"/>
          </p:cNvSpPr>
          <p:nvPr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/>
        </p:nvSpPr>
        <p:spPr bwMode="auto">
          <a:xfrm>
            <a:off x="6128756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4780364" y="2052439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848240" y="5965785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6233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erramen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AutoShape 3"/>
          <p:cNvSpPr>
            <a:spLocks noChangeAspect="1" noChangeArrowheads="1" noTextEdit="1"/>
          </p:cNvSpPr>
          <p:nvPr userDrawn="1"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 userDrawn="1"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 userDrawn="1"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 userDrawn="1"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 userDrawn="1"/>
        </p:nvSpPr>
        <p:spPr bwMode="auto">
          <a:xfrm>
            <a:off x="5675268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 userDrawn="1"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5128819" y="1960324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177464" y="5927709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8201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9" r:id="rId3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.mineHash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1</a:t>
            </a:fld>
            <a:endParaRPr lang="pt-BR" dirty="0"/>
          </a:p>
        </p:txBody>
      </p:sp>
      <p:cxnSp>
        <p:nvCxnSpPr>
          <p:cNvPr id="4" name="Conector reto 3"/>
          <p:cNvCxnSpPr/>
          <p:nvPr/>
        </p:nvCxnSpPr>
        <p:spPr>
          <a:xfrm flipH="1">
            <a:off x="4417219" y="1692399"/>
            <a:ext cx="0" cy="4643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/>
          <p:nvPr/>
        </p:nvCxnSpPr>
        <p:spPr>
          <a:xfrm flipH="1">
            <a:off x="8653522" y="1627248"/>
            <a:ext cx="8001" cy="4783387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1073140" y="1166514"/>
            <a:ext cx="237116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>
                <a:latin typeface="MV Boli" panose="02000500030200090000" pitchFamily="2" charset="0"/>
                <a:cs typeface="MV Boli" panose="02000500030200090000" pitchFamily="2" charset="0"/>
              </a:rPr>
              <a:t>Tarefa Identificada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4918037" y="1044326"/>
            <a:ext cx="3198311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Ideias e Soluções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9415145" y="1044326"/>
            <a:ext cx="29409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>
                <a:latin typeface="MV Boli" panose="02000500030200090000" pitchFamily="2" charset="0"/>
                <a:cs typeface="MV Boli" panose="02000500030200090000" pitchFamily="2" charset="0"/>
              </a:rPr>
              <a:t>Benefícios para Negócio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362637" y="1837568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362637" y="3072038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 </a:t>
            </a: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5683513" y="1848307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5683513" y="3072039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2367906" y="4989505"/>
            <a:ext cx="1667358" cy="873217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 </a:t>
            </a:r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265103" y="4997214"/>
            <a:ext cx="1667358" cy="873217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045395" y="1950675"/>
            <a:ext cx="1947349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1184720" y="1950675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35" name="Retângulo 34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174675" y="4862642"/>
            <a:ext cx="1789092" cy="873217"/>
          </a:xfrm>
          <a:prstGeom prst="rect">
            <a:avLst/>
          </a:prstGeom>
          <a:solidFill>
            <a:srgbClr val="00D22E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007" y="7149073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CaixaDeTexto 18">
            <a:extLst>
              <a:ext uri="{FF2B5EF4-FFF2-40B4-BE49-F238E27FC236}">
                <a16:creationId xmlns:a16="http://schemas.microsoft.com/office/drawing/2014/main" id="{2D44FDF8-805B-4552-B1AE-60198E08B07D}"/>
              </a:ext>
            </a:extLst>
          </p:cNvPr>
          <p:cNvSpPr txBox="1"/>
          <p:nvPr/>
        </p:nvSpPr>
        <p:spPr>
          <a:xfrm>
            <a:off x="9493310" y="4318246"/>
            <a:ext cx="29409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>
                <a:latin typeface="MV Boli" panose="02000500030200090000" pitchFamily="2" charset="0"/>
                <a:cs typeface="MV Boli" panose="02000500030200090000" pitchFamily="2" charset="0"/>
              </a:rPr>
              <a:t>Benefícios para Cliente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5F570210-B48B-4D49-A129-FC71DA8F8989}"/>
              </a:ext>
            </a:extLst>
          </p:cNvPr>
          <p:cNvSpPr txBox="1"/>
          <p:nvPr/>
        </p:nvSpPr>
        <p:spPr>
          <a:xfrm>
            <a:off x="989896" y="4397561"/>
            <a:ext cx="241284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>
                <a:latin typeface="MV Boli" panose="02000500030200090000" pitchFamily="2" charset="0"/>
                <a:cs typeface="MV Boli" panose="02000500030200090000" pitchFamily="2" charset="0"/>
              </a:rPr>
              <a:t>Clientes e Usuários</a:t>
            </a:r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id="{4988000D-F024-4396-90A2-1F866E4F5349}"/>
              </a:ext>
            </a:extLst>
          </p:cNvPr>
          <p:cNvSpPr/>
          <p:nvPr/>
        </p:nvSpPr>
        <p:spPr>
          <a:xfrm>
            <a:off x="1387826" y="6069974"/>
            <a:ext cx="1667358" cy="873217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 </a:t>
            </a:r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173E3CDC-9522-48A9-96B8-8245E4E22DE0}"/>
              </a:ext>
            </a:extLst>
          </p:cNvPr>
          <p:cNvSpPr/>
          <p:nvPr/>
        </p:nvSpPr>
        <p:spPr>
          <a:xfrm>
            <a:off x="5686344" y="4263863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8" name="Retângulo 27">
            <a:extLst>
              <a:ext uri="{FF2B5EF4-FFF2-40B4-BE49-F238E27FC236}">
                <a16:creationId xmlns:a16="http://schemas.microsoft.com/office/drawing/2014/main" id="{4ECF1DAB-4058-4850-B504-211B79E24011}"/>
              </a:ext>
            </a:extLst>
          </p:cNvPr>
          <p:cNvSpPr/>
          <p:nvPr/>
        </p:nvSpPr>
        <p:spPr>
          <a:xfrm>
            <a:off x="5701185" y="5537418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9" name="Retângulo 28">
            <a:extLst>
              <a:ext uri="{FF2B5EF4-FFF2-40B4-BE49-F238E27FC236}">
                <a16:creationId xmlns:a16="http://schemas.microsoft.com/office/drawing/2014/main" id="{368534B7-DB0B-4876-8027-4FDE1ED2C74E}"/>
              </a:ext>
            </a:extLst>
          </p:cNvPr>
          <p:cNvSpPr/>
          <p:nvPr/>
        </p:nvSpPr>
        <p:spPr>
          <a:xfrm>
            <a:off x="10106172" y="3117515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30" name="Retângulo 29">
            <a:extLst>
              <a:ext uri="{FF2B5EF4-FFF2-40B4-BE49-F238E27FC236}">
                <a16:creationId xmlns:a16="http://schemas.microsoft.com/office/drawing/2014/main" id="{2A4BE17C-C178-472A-9845-E41905B09AD4}"/>
              </a:ext>
            </a:extLst>
          </p:cNvPr>
          <p:cNvSpPr/>
          <p:nvPr/>
        </p:nvSpPr>
        <p:spPr>
          <a:xfrm>
            <a:off x="11184720" y="4880061"/>
            <a:ext cx="1789092" cy="873217"/>
          </a:xfrm>
          <a:prstGeom prst="rect">
            <a:avLst/>
          </a:prstGeom>
          <a:solidFill>
            <a:srgbClr val="00D22E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31" name="Retângulo 30">
            <a:extLst>
              <a:ext uri="{FF2B5EF4-FFF2-40B4-BE49-F238E27FC236}">
                <a16:creationId xmlns:a16="http://schemas.microsoft.com/office/drawing/2014/main" id="{C1412E90-754B-4EB8-AA44-BD5386416208}"/>
              </a:ext>
            </a:extLst>
          </p:cNvPr>
          <p:cNvSpPr/>
          <p:nvPr/>
        </p:nvSpPr>
        <p:spPr>
          <a:xfrm>
            <a:off x="10290174" y="6008318"/>
            <a:ext cx="1789092" cy="873217"/>
          </a:xfrm>
          <a:prstGeom prst="rect">
            <a:avLst/>
          </a:prstGeom>
          <a:solidFill>
            <a:srgbClr val="00D22E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0322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Solução – </a:t>
            </a:r>
            <a:r>
              <a:rPr lang="pt-BR" sz="3087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Bandtec</a:t>
            </a: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 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2</a:t>
            </a:fld>
            <a:endParaRPr lang="pt-BR" dirty="0"/>
          </a:p>
        </p:txBody>
      </p:sp>
      <p:cxnSp>
        <p:nvCxnSpPr>
          <p:cNvPr id="4" name="Conector reto 3"/>
          <p:cNvCxnSpPr/>
          <p:nvPr/>
        </p:nvCxnSpPr>
        <p:spPr>
          <a:xfrm flipH="1">
            <a:off x="4417219" y="1692399"/>
            <a:ext cx="0" cy="4643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/>
          <p:nvPr/>
        </p:nvCxnSpPr>
        <p:spPr>
          <a:xfrm flipH="1">
            <a:off x="8653522" y="1627248"/>
            <a:ext cx="8001" cy="4783387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1073140" y="1166514"/>
            <a:ext cx="237116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>
                <a:latin typeface="MV Boli" panose="02000500030200090000" pitchFamily="2" charset="0"/>
                <a:cs typeface="MV Boli" panose="02000500030200090000" pitchFamily="2" charset="0"/>
              </a:rPr>
              <a:t>Tarefa Identificada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4918037" y="1044326"/>
            <a:ext cx="3198311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Ideias e Soluções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9415145" y="1044326"/>
            <a:ext cx="29409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>
                <a:latin typeface="MV Boli" panose="02000500030200090000" pitchFamily="2" charset="0"/>
                <a:cs typeface="MV Boli" panose="02000500030200090000" pitchFamily="2" charset="0"/>
              </a:rPr>
              <a:t>Benefícios para Negócio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362637" y="1837568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Layout de avisos</a:t>
            </a: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362637" y="3072038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UX </a:t>
            </a: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5683513" y="1848307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tualização em tempo real dos avisos    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5683513" y="3072039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Notificação quanto as atividades e boletos </a:t>
            </a:r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2367906" y="4989505"/>
            <a:ext cx="1667358" cy="873217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rofessores </a:t>
            </a:r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265103" y="4997214"/>
            <a:ext cx="1667358" cy="873217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lunos</a:t>
            </a:r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045395" y="1950675"/>
            <a:ext cx="1947349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Otimização do tempo da secretaria</a:t>
            </a: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1184720" y="1950675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Secretária poderá se dedicar a outras atividades</a:t>
            </a:r>
          </a:p>
        </p:txBody>
      </p:sp>
      <p:sp>
        <p:nvSpPr>
          <p:cNvPr id="35" name="Retângulo 34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174675" y="4862642"/>
            <a:ext cx="1789092" cy="873217"/>
          </a:xfrm>
          <a:prstGeom prst="rect">
            <a:avLst/>
          </a:prstGeom>
          <a:solidFill>
            <a:srgbClr val="00D22E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desão ao App</a:t>
            </a: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007" y="7149073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CaixaDeTexto 18">
            <a:extLst>
              <a:ext uri="{FF2B5EF4-FFF2-40B4-BE49-F238E27FC236}">
                <a16:creationId xmlns:a16="http://schemas.microsoft.com/office/drawing/2014/main" id="{2D44FDF8-805B-4552-B1AE-60198E08B07D}"/>
              </a:ext>
            </a:extLst>
          </p:cNvPr>
          <p:cNvSpPr txBox="1"/>
          <p:nvPr/>
        </p:nvSpPr>
        <p:spPr>
          <a:xfrm>
            <a:off x="9493310" y="4318246"/>
            <a:ext cx="29409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>
                <a:latin typeface="MV Boli" panose="02000500030200090000" pitchFamily="2" charset="0"/>
                <a:cs typeface="MV Boli" panose="02000500030200090000" pitchFamily="2" charset="0"/>
              </a:rPr>
              <a:t>Benefícios para Cliente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5F570210-B48B-4D49-A129-FC71DA8F8989}"/>
              </a:ext>
            </a:extLst>
          </p:cNvPr>
          <p:cNvSpPr txBox="1"/>
          <p:nvPr/>
        </p:nvSpPr>
        <p:spPr>
          <a:xfrm>
            <a:off x="989896" y="4397561"/>
            <a:ext cx="241284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>
                <a:latin typeface="MV Boli" panose="02000500030200090000" pitchFamily="2" charset="0"/>
                <a:cs typeface="MV Boli" panose="02000500030200090000" pitchFamily="2" charset="0"/>
              </a:rPr>
              <a:t>Clientes e Usuários</a:t>
            </a:r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id="{4988000D-F024-4396-90A2-1F866E4F5349}"/>
              </a:ext>
            </a:extLst>
          </p:cNvPr>
          <p:cNvSpPr/>
          <p:nvPr/>
        </p:nvSpPr>
        <p:spPr>
          <a:xfrm>
            <a:off x="1387826" y="6069974"/>
            <a:ext cx="1667358" cy="873217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Secretaria </a:t>
            </a:r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173E3CDC-9522-48A9-96B8-8245E4E22DE0}"/>
              </a:ext>
            </a:extLst>
          </p:cNvPr>
          <p:cNvSpPr/>
          <p:nvPr/>
        </p:nvSpPr>
        <p:spPr>
          <a:xfrm>
            <a:off x="5686344" y="4263863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Service-</a:t>
            </a:r>
            <a:r>
              <a:rPr lang="pt-BR" sz="1544" dirty="0" err="1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desk</a:t>
            </a:r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8" name="Retângulo 27">
            <a:extLst>
              <a:ext uri="{FF2B5EF4-FFF2-40B4-BE49-F238E27FC236}">
                <a16:creationId xmlns:a16="http://schemas.microsoft.com/office/drawing/2014/main" id="{4ECF1DAB-4058-4850-B504-211B79E24011}"/>
              </a:ext>
            </a:extLst>
          </p:cNvPr>
          <p:cNvSpPr/>
          <p:nvPr/>
        </p:nvSpPr>
        <p:spPr>
          <a:xfrm>
            <a:off x="5701185" y="5537418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QR </a:t>
            </a:r>
            <a:r>
              <a:rPr lang="pt-BR" sz="1544" dirty="0" err="1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de</a:t>
            </a:r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 vinculado a biblioteca</a:t>
            </a:r>
          </a:p>
        </p:txBody>
      </p:sp>
      <p:sp>
        <p:nvSpPr>
          <p:cNvPr id="29" name="Retângulo 28">
            <a:extLst>
              <a:ext uri="{FF2B5EF4-FFF2-40B4-BE49-F238E27FC236}">
                <a16:creationId xmlns:a16="http://schemas.microsoft.com/office/drawing/2014/main" id="{368534B7-DB0B-4876-8027-4FDE1ED2C74E}"/>
              </a:ext>
            </a:extLst>
          </p:cNvPr>
          <p:cNvSpPr/>
          <p:nvPr/>
        </p:nvSpPr>
        <p:spPr>
          <a:xfrm>
            <a:off x="10106172" y="3117515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elhoria na comunicação entre a empresa e o cliente</a:t>
            </a:r>
          </a:p>
        </p:txBody>
      </p:sp>
      <p:sp>
        <p:nvSpPr>
          <p:cNvPr id="30" name="Retângulo 29">
            <a:extLst>
              <a:ext uri="{FF2B5EF4-FFF2-40B4-BE49-F238E27FC236}">
                <a16:creationId xmlns:a16="http://schemas.microsoft.com/office/drawing/2014/main" id="{2A4BE17C-C178-472A-9845-E41905B09AD4}"/>
              </a:ext>
            </a:extLst>
          </p:cNvPr>
          <p:cNvSpPr/>
          <p:nvPr/>
        </p:nvSpPr>
        <p:spPr>
          <a:xfrm>
            <a:off x="11184720" y="4880061"/>
            <a:ext cx="1789092" cy="873217"/>
          </a:xfrm>
          <a:prstGeom prst="rect">
            <a:avLst/>
          </a:prstGeom>
          <a:solidFill>
            <a:srgbClr val="00D22E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Facilidade e dinamismo na prestação de serviços</a:t>
            </a:r>
          </a:p>
        </p:txBody>
      </p:sp>
      <p:sp>
        <p:nvSpPr>
          <p:cNvPr id="31" name="Retângulo 30">
            <a:extLst>
              <a:ext uri="{FF2B5EF4-FFF2-40B4-BE49-F238E27FC236}">
                <a16:creationId xmlns:a16="http://schemas.microsoft.com/office/drawing/2014/main" id="{C1412E90-754B-4EB8-AA44-BD5386416208}"/>
              </a:ext>
            </a:extLst>
          </p:cNvPr>
          <p:cNvSpPr/>
          <p:nvPr/>
        </p:nvSpPr>
        <p:spPr>
          <a:xfrm>
            <a:off x="10290174" y="6008318"/>
            <a:ext cx="1789092" cy="873217"/>
          </a:xfrm>
          <a:prstGeom prst="rect">
            <a:avLst/>
          </a:prstGeom>
          <a:solidFill>
            <a:srgbClr val="00D22E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Informações, avisos e atualizações em tempo real</a:t>
            </a:r>
          </a:p>
        </p:txBody>
      </p:sp>
    </p:spTree>
    <p:extLst>
      <p:ext uri="{BB962C8B-B14F-4D97-AF65-F5344CB8AC3E}">
        <p14:creationId xmlns:p14="http://schemas.microsoft.com/office/powerpoint/2010/main" val="26395911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úd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Encerramento / Agradeciment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79</TotalTime>
  <Words>104</Words>
  <Application>Microsoft Office PowerPoint</Application>
  <PresentationFormat>Personalizar</PresentationFormat>
  <Paragraphs>34</Paragraphs>
  <Slides>2</Slides>
  <Notes>2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</vt:i4>
      </vt:variant>
    </vt:vector>
  </HeadingPairs>
  <TitlesOfParts>
    <vt:vector size="11" baseType="lpstr">
      <vt:lpstr>Arial</vt:lpstr>
      <vt:lpstr>Calibri</vt:lpstr>
      <vt:lpstr>Exo 2</vt:lpstr>
      <vt:lpstr>MV Boli</vt:lpstr>
      <vt:lpstr>Simplon BP Medium</vt:lpstr>
      <vt:lpstr>Simplon BP Regular</vt:lpstr>
      <vt:lpstr>Conteúdo</vt:lpstr>
      <vt:lpstr>Encerramento / Agradecimento</vt:lpstr>
      <vt:lpstr>Slide do think-cell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kira</dc:creator>
  <cp:lastModifiedBy>Fabíola Canedo Yugar</cp:lastModifiedBy>
  <cp:revision>190</cp:revision>
  <dcterms:created xsi:type="dcterms:W3CDTF">2016-12-01T16:19:35Z</dcterms:created>
  <dcterms:modified xsi:type="dcterms:W3CDTF">2019-08-30T18:23:06Z</dcterms:modified>
</cp:coreProperties>
</file>